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23" d="100"/>
          <a:sy n="123" d="100"/>
        </p:scale>
        <p:origin x="576" y="19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2/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2/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6"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8"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1"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Customer churn is not sensitive to price</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Neither increase in price nor price variation in the period leading to churn shows a weak correlation with customer churn</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Net margin and consumption over 12 months is a key indicator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machine learning model considered these 2 variables best in predicting customer churn</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More data is needed to improve the model</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model is currently effective at detecting non-churn, but has a poor accuracy predicting </a:t>
            </a:r>
            <a:r>
              <a:rPr lang="en-US" sz="1600">
                <a:solidFill>
                  <a:schemeClr val="tx1">
                    <a:lumMod val="100000"/>
                  </a:schemeClr>
                </a:solidFill>
                <a:latin typeface="Trebuchet MS" panose="020B0703020202090204" pitchFamily="34" charset="0"/>
              </a:rPr>
              <a:t>churning customers</a:t>
            </a: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6</TotalTime>
  <Words>82</Words>
  <Application>Microsoft Macintosh PowerPoint</Application>
  <PresentationFormat>Widescreen</PresentationFormat>
  <Paragraphs>12</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Quy Vu</cp:lastModifiedBy>
  <cp:revision>448</cp:revision>
  <cp:lastPrinted>2016-04-06T18:59:25Z</cp:lastPrinted>
  <dcterms:created xsi:type="dcterms:W3CDTF">2016-11-04T11:46:04Z</dcterms:created>
  <dcterms:modified xsi:type="dcterms:W3CDTF">2022-01-12T16:4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